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1"/>
  </p:sldMasterIdLst>
  <p:notesMasterIdLst>
    <p:notesMasterId r:id="rId9"/>
  </p:notesMasterIdLst>
  <p:handoutMasterIdLst>
    <p:handoutMasterId r:id="rId10"/>
  </p:handoutMasterIdLst>
  <p:sldIdLst>
    <p:sldId id="256" r:id="rId2"/>
    <p:sldId id="263" r:id="rId3"/>
    <p:sldId id="262" r:id="rId4"/>
    <p:sldId id="264" r:id="rId5"/>
    <p:sldId id="265" r:id="rId6"/>
    <p:sldId id="266" r:id="rId7"/>
    <p:sldId id="258" r:id="rId8"/>
  </p:sldIdLst>
  <p:sldSz cx="10972800" cy="6858000"/>
  <p:notesSz cx="7099300" cy="10234613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54864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09728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64592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19456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743200" algn="l" defTabSz="109728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291840" algn="l" defTabSz="109728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840480" algn="l" defTabSz="109728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389120" algn="l" defTabSz="109728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456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93" autoAdjust="0"/>
  </p:normalViewPr>
  <p:slideViewPr>
    <p:cSldViewPr snapToObjects="1" showGuides="1">
      <p:cViewPr varScale="1">
        <p:scale>
          <a:sx n="109" d="100"/>
          <a:sy n="109" d="100"/>
        </p:scale>
        <p:origin x="1032" y="108"/>
      </p:cViewPr>
      <p:guideLst>
        <p:guide pos="3456"/>
        <p:guide orient="horz"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71" d="100"/>
          <a:sy n="71" d="100"/>
        </p:scale>
        <p:origin x="2118" y="90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en-US" sz="100" b="1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9" name="Date Placeholder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9</a:t>
            </a:r>
          </a:p>
          <a:p>
            <a:pPr algn="l"/>
            <a:endParaRPr lang="en-US" sz="10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F487A9E9-B625-4CF4-93D0-F1C261599358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DDD6B10C-C6D9-49A2-AEF9-8528F6D3DA3C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E45E1CA5-EB1D-4D6E-A602-7D3A4F3B062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0CBF05DA-5D48-48E3-B746-DB0BB28ED7D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40379AD-9CB9-4709-BC40-82221842FDA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No Marking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classification_placeholder" hidden="1">
            <a:extLst>
              <a:ext uri="{FF2B5EF4-FFF2-40B4-BE49-F238E27FC236}">
                <a16:creationId xmlns:a16="http://schemas.microsoft.com/office/drawing/2014/main" id="{A0147F2C-4990-4CE1-B537-C25D92FDA3C8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date_placeholder">
            <a:extLst>
              <a:ext uri="{FF2B5EF4-FFF2-40B4-BE49-F238E27FC236}">
                <a16:creationId xmlns:a16="http://schemas.microsoft.com/office/drawing/2014/main" id="{F940AC2A-3462-4E7C-BF87-BD228B1E28BA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870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5117306"/>
            <a:ext cx="6191968" cy="4423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noFill/>
            </a:endParaRPr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2020-09-29</a:t>
            </a:r>
          </a:p>
          <a:p>
            <a:endParaRPr lang="en-US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0A520417-3DA5-4692-A211-53BA6B8B7D5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7B9F1792-6E7C-4306-8B76-83D1E22468F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E8A9F149-3901-4FB7-A8F0-092367E0021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49A06ADA-7092-491F-9186-B2B36FBB7E4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BE523FC1-57D0-47E1-859F-0EDE802076E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No Marking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 hidden="1">
            <a:extLst>
              <a:ext uri="{FF2B5EF4-FFF2-40B4-BE49-F238E27FC236}">
                <a16:creationId xmlns:a16="http://schemas.microsoft.com/office/drawing/2014/main" id="{7F0E9FB3-BEA0-48A8-92A6-502092291A36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AD7CC5FA-792F-42D4-AF46-7F1C28E8986A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44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48640" algn="l" rtl="0" fontAlgn="base">
      <a:spcBef>
        <a:spcPct val="30000"/>
      </a:spcBef>
      <a:spcAft>
        <a:spcPct val="0"/>
      </a:spcAft>
      <a:defRPr sz="144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097280" algn="l" rtl="0" fontAlgn="base">
      <a:spcBef>
        <a:spcPct val="30000"/>
      </a:spcBef>
      <a:spcAft>
        <a:spcPct val="0"/>
      </a:spcAft>
      <a:defRPr sz="144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645920" algn="l" rtl="0" fontAlgn="base">
      <a:spcBef>
        <a:spcPct val="30000"/>
      </a:spcBef>
      <a:spcAft>
        <a:spcPct val="0"/>
      </a:spcAft>
      <a:defRPr sz="144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194560" algn="l" rtl="0" fontAlgn="base">
      <a:spcBef>
        <a:spcPct val="30000"/>
      </a:spcBef>
      <a:spcAft>
        <a:spcPct val="0"/>
      </a:spcAft>
      <a:defRPr sz="144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274320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C9728897-8803-46FB-B4C3-EE9B9AEE75C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8654752" y="5517232"/>
            <a:ext cx="1908212" cy="93610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6" name="Background White">
            <a:extLst>
              <a:ext uri="{FF2B5EF4-FFF2-40B4-BE49-F238E27FC236}">
                <a16:creationId xmlns:a16="http://schemas.microsoft.com/office/drawing/2014/main" id="{FCB96766-B726-4C1E-8CB0-2534547DB76F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Crystal Picture Placeholder">
            <a:extLst>
              <a:ext uri="{FF2B5EF4-FFF2-40B4-BE49-F238E27FC236}">
                <a16:creationId xmlns:a16="http://schemas.microsoft.com/office/drawing/2014/main" id="{DB5652D2-D05F-2458-E7DC-D9EF5A496F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3"/>
            <a:ext cx="109727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D5F81AFE-25AA-4B3E-BB1D-750550308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8000" y="5662800"/>
            <a:ext cx="763200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GB" baseline="0" noProof="0" dirty="0">
                <a:latin typeface="+mn-lt"/>
                <a:ea typeface="+mn-ea"/>
                <a:cs typeface="+mn-cs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9AD71B2A-50C1-49B9-B4EA-23DD5253017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56419" y="4194804"/>
            <a:ext cx="7633581" cy="1107996"/>
          </a:xfrm>
        </p:spPr>
        <p:txBody>
          <a:bodyPr lIns="0" tIns="0" rIns="0"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5" name="empower_classification_attention_placeholder" hidden="1">
            <a:extLst>
              <a:ext uri="{FF2B5EF4-FFF2-40B4-BE49-F238E27FC236}">
                <a16:creationId xmlns:a16="http://schemas.microsoft.com/office/drawing/2014/main" id="{4C0813C8-3BA2-414A-8621-C2CFFDB3C0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4802200" y="6489701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9" name="empower_classification_placeholder" hidden="1">
            <a:extLst>
              <a:ext uri="{FF2B5EF4-FFF2-40B4-BE49-F238E27FC236}">
                <a16:creationId xmlns:a16="http://schemas.microsoft.com/office/drawing/2014/main" id="{67B82B94-F4B2-43F2-86E9-5F8A4F43A48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4802400" y="6489701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FA65B83-B64F-4079-993C-B6AE2286A4C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556419" y="6489701"/>
            <a:ext cx="3240087" cy="28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raft_placeholder" hidden="1">
            <a:extLst>
              <a:ext uri="{FF2B5EF4-FFF2-40B4-BE49-F238E27FC236}">
                <a16:creationId xmlns:a16="http://schemas.microsoft.com/office/drawing/2014/main" id="{F38CEF11-81EC-4740-8E65-4C03555E54C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3796506" y="6489373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NAVIGATION" hidden="1">
            <a:extLst>
              <a:ext uri="{FF2B5EF4-FFF2-40B4-BE49-F238E27FC236}">
                <a16:creationId xmlns:a16="http://schemas.microsoft.com/office/drawing/2014/main" id="{CB79D148-1528-4662-8C84-FD9244FFA7B8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2" name="MIO_AGENDA_IGNORE_CHAPTER_REFERENCE" hidden="1">
            <a:extLst>
              <a:ext uri="{FF2B5EF4-FFF2-40B4-BE49-F238E27FC236}">
                <a16:creationId xmlns:a16="http://schemas.microsoft.com/office/drawing/2014/main" id="{A1E94250-6EA5-4F49-A193-8A383B909D40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7D76DE-EDAF-49C6-86D1-FD3FD21D8EE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8DAE4B2D-5B1C-48F2-8FBE-79F25E2A0B1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300C9B6B-B20E-4210-8337-31C6F41C417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95C37836-A524-46DE-A11D-9E0BAEA59A84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D7C5D5-6760-44E1-8944-0E0D7B1EDB9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194" y="5608162"/>
            <a:ext cx="1681935" cy="73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D0808135-7FC0-9B1B-C361-ED1BE78D2FB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1535FE62-8AA2-E798-54C4-53C97B9CB828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A2903BD4-8D05-4365-6C99-1C6CE479810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05B7FD3F-BD6D-5D78-8D35-9731175E3DA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footer_placeholder">
            <a:extLst>
              <a:ext uri="{FF2B5EF4-FFF2-40B4-BE49-F238E27FC236}">
                <a16:creationId xmlns:a16="http://schemas.microsoft.com/office/drawing/2014/main" id="{12FDF465-BA31-48DE-2140-B5B2B686906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7" name="empower_classification_attention_placeholder" hidden="1">
            <a:extLst>
              <a:ext uri="{FF2B5EF4-FFF2-40B4-BE49-F238E27FC236}">
                <a16:creationId xmlns:a16="http://schemas.microsoft.com/office/drawing/2014/main" id="{627B8150-BC36-99E3-1F95-DBC1D86815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1" name="empower_classification_placeholder" hidden="1">
            <a:extLst>
              <a:ext uri="{FF2B5EF4-FFF2-40B4-BE49-F238E27FC236}">
                <a16:creationId xmlns:a16="http://schemas.microsoft.com/office/drawing/2014/main" id="{09437AED-25F0-27A8-C22B-675E700D923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585833AA-DC7A-A138-F65B-562AD13DAA4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2"/>
            <a:ext cx="10368000" cy="2304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02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5558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E7EDB8AD-EA3D-4CB8-ACA5-941C54F04F5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C194976-BB2C-4F15-BB1C-28D2FDD660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463D483C-438B-4825-989F-F73DED593815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70B09A54-FAC8-4D12-8404-D88F6DC24470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BDFD2B7D-23F5-42FE-B524-FBE9FF870E29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2251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orient="horz" pos="2432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  <p15:guide id="5" pos="3411" userDrawn="1">
          <p15:clr>
            <a:srgbClr val="FBAE40"/>
          </p15:clr>
        </p15:guide>
        <p15:guide id="6" pos="190" userDrawn="1">
          <p15:clr>
            <a:srgbClr val="FBAE40"/>
          </p15:clr>
        </p15:guide>
        <p15:guide id="7" pos="3501" userDrawn="1">
          <p15:clr>
            <a:srgbClr val="FBAE40"/>
          </p15:clr>
        </p15:guide>
        <p15:guide id="8" pos="672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886D920F-170E-4074-33BA-775D63E1452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72983C95-5AF3-9BDF-BE3C-7E118EA1EE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3A648AA3-7F8E-4774-A672-93EC4EF7DE5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86BF3E9A-6924-BC38-002F-E41E129566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2D35A67-351E-29F7-DD5E-6D083107836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C1E0D0D3-A562-60C9-A3CF-A251F49FBCF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2" name="empower_classification_placeholder" hidden="1">
            <a:extLst>
              <a:ext uri="{FF2B5EF4-FFF2-40B4-BE49-F238E27FC236}">
                <a16:creationId xmlns:a16="http://schemas.microsoft.com/office/drawing/2014/main" id="{E10F58CC-BBDA-FC1E-2DD2-659E5BABB17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DFE71A90-8E6B-EB55-22B3-C1F6769EAE4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3"/>
            <a:ext cx="10369152" cy="1224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02400" y="2780931"/>
            <a:ext cx="5112000" cy="197998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5558400" y="2780932"/>
            <a:ext cx="5112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02400" y="5085186"/>
            <a:ext cx="10369152" cy="1296566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52D691CE-A47F-45EE-BAF6-AEEEE962C046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B3FCC9EC-1F11-4114-9754-4BD8E6AB3F8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B429379-7C5F-40E0-99CE-44AE96C2A061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31175E56-BAA1-4930-8203-4F5F5C985B4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ED85B872-C308-4E3D-9059-5BB7C89E66F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  <p15:guide id="2" pos="3501" userDrawn="1">
          <p15:clr>
            <a:srgbClr val="FBAE40"/>
          </p15:clr>
        </p15:guide>
        <p15:guide id="3" pos="3411" userDrawn="1">
          <p15:clr>
            <a:srgbClr val="FBAE40"/>
          </p15:clr>
        </p15:guide>
        <p15:guide id="4" pos="190" userDrawn="1">
          <p15:clr>
            <a:srgbClr val="FBAE40"/>
          </p15:clr>
        </p15:guide>
        <p15:guide id="5" pos="6722" userDrawn="1">
          <p15:clr>
            <a:srgbClr val="FBAE40"/>
          </p15:clr>
        </p15:guide>
        <p15:guide id="6" orient="horz" pos="799" userDrawn="1">
          <p15:clr>
            <a:srgbClr val="FBAE40"/>
          </p15:clr>
        </p15:guide>
        <p15:guide id="7" orient="horz" pos="1570" userDrawn="1">
          <p15:clr>
            <a:srgbClr val="FBAE40"/>
          </p15:clr>
        </p15:guide>
        <p15:guide id="8" orient="horz" pos="2999" userDrawn="1">
          <p15:clr>
            <a:srgbClr val="FBAE40"/>
          </p15:clr>
        </p15:guide>
        <p15:guide id="9" orient="horz" pos="3203" userDrawn="1">
          <p15:clr>
            <a:srgbClr val="FBAE40"/>
          </p15:clr>
        </p15:guide>
        <p15:guide id="10" orient="horz" pos="40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0720FE6C-AAE4-1FCA-1439-AC65E0EC1DE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17BDB101-30E2-CD55-71C4-6849AAD1BCA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C88C1B08-52F3-1C05-8D97-8D709EEAC2A5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83A4D7B-B9E1-1AF4-D500-C18427CB623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footer_placeholder">
            <a:extLst>
              <a:ext uri="{FF2B5EF4-FFF2-40B4-BE49-F238E27FC236}">
                <a16:creationId xmlns:a16="http://schemas.microsoft.com/office/drawing/2014/main" id="{694525D9-11C5-32A9-E56E-B044492DED2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7" name="empower_classification_attention_placeholder" hidden="1">
            <a:extLst>
              <a:ext uri="{FF2B5EF4-FFF2-40B4-BE49-F238E27FC236}">
                <a16:creationId xmlns:a16="http://schemas.microsoft.com/office/drawing/2014/main" id="{DF66F3E5-70BE-2D2E-265B-93CF51625CB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1" name="empower_classification_placeholder" hidden="1">
            <a:extLst>
              <a:ext uri="{FF2B5EF4-FFF2-40B4-BE49-F238E27FC236}">
                <a16:creationId xmlns:a16="http://schemas.microsoft.com/office/drawing/2014/main" id="{61D4694E-B477-815E-610C-48F43E63D0F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09C380B7-DA84-8798-A5BA-2E673EAD394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3384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3830638" y="1268414"/>
            <a:ext cx="3311525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7286626" y="1268414"/>
            <a:ext cx="338455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0985F2B8-C50D-49CF-B3A1-A45CA60DACD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C619BC-1192-4BC0-89D3-A2D9115905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30586970-1C0C-4382-B351-CAA393234053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C3E8915C-7420-4DE9-9FA3-E04428D08263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6BE401F6-A69E-41BE-B0CF-47077E254DD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pos="2322" userDrawn="1">
          <p15:clr>
            <a:srgbClr val="FBAE40"/>
          </p15:clr>
        </p15:guide>
        <p15:guide id="4" pos="190" userDrawn="1">
          <p15:clr>
            <a:srgbClr val="FBAE40"/>
          </p15:clr>
        </p15:guide>
        <p15:guide id="5" pos="6722" userDrawn="1">
          <p15:clr>
            <a:srgbClr val="FBAE40"/>
          </p15:clr>
        </p15:guide>
        <p15:guide id="6" pos="4590" userDrawn="1">
          <p15:clr>
            <a:srgbClr val="FBAE40"/>
          </p15:clr>
        </p15:guide>
        <p15:guide id="7" pos="4499" userDrawn="1">
          <p15:clr>
            <a:srgbClr val="FBAE40"/>
          </p15:clr>
        </p15:guide>
        <p15:guide id="8" pos="241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35145616-BDFF-CEF3-FB4B-93299200F5B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EE02756B-2350-2380-5DDC-500F6222C15B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46A6EB23-8A15-47EF-4C8D-663E537D686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6BEA7E23-0FC7-288B-55BB-6BCA7B940F9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F22CCE2A-E69D-4584-0858-C1CBC144F13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5BBEE5A3-0D0E-EFD2-26D4-6ABDDB54213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2" name="empower_classification_placeholder" hidden="1">
            <a:extLst>
              <a:ext uri="{FF2B5EF4-FFF2-40B4-BE49-F238E27FC236}">
                <a16:creationId xmlns:a16="http://schemas.microsoft.com/office/drawing/2014/main" id="{61FB0025-E7EC-492D-C3E7-EDDE3E50BD3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93FE9955-240D-CE7B-D4B4-5EB9CCBC67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t Top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10369152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02400" y="2781300"/>
            <a:ext cx="338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3830976" y="2781300"/>
            <a:ext cx="3312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7287552" y="2781300"/>
            <a:ext cx="338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CAE71240-75BD-40FA-82DF-D1E460A4291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455A8E95-C7D8-4E32-BF73-F70CEEB9A4C9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62C66BE8-37BE-407E-9E92-0F05F4E41277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AAB4A26D-FC0D-4D24-BF83-580B4CCA5EB9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744219C9-A1E9-4199-97CA-B3694991CF7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4020" userDrawn="1">
          <p15:clr>
            <a:srgbClr val="FBAE40"/>
          </p15:clr>
        </p15:guide>
        <p15:guide id="3" orient="horz" pos="1661" userDrawn="1">
          <p15:clr>
            <a:srgbClr val="FBAE40"/>
          </p15:clr>
        </p15:guide>
        <p15:guide id="4" orient="horz" pos="1752" userDrawn="1">
          <p15:clr>
            <a:srgbClr val="FBAE40"/>
          </p15:clr>
        </p15:guide>
        <p15:guide id="5" pos="6722" userDrawn="1">
          <p15:clr>
            <a:srgbClr val="FBAE40"/>
          </p15:clr>
        </p15:guide>
        <p15:guide id="6" pos="190" userDrawn="1">
          <p15:clr>
            <a:srgbClr val="FBAE40"/>
          </p15:clr>
        </p15:guide>
        <p15:guide id="7" pos="2322" userDrawn="1">
          <p15:clr>
            <a:srgbClr val="FBAE40"/>
          </p15:clr>
        </p15:guide>
        <p15:guide id="8" pos="2413" userDrawn="1">
          <p15:clr>
            <a:srgbClr val="FBAE40"/>
          </p15:clr>
        </p15:guide>
        <p15:guide id="9" pos="4499" userDrawn="1">
          <p15:clr>
            <a:srgbClr val="FBAE40"/>
          </p15:clr>
        </p15:guide>
        <p15:guide id="10" pos="459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19FBA10B-87ED-284B-1E8C-DCCF04013FA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3A781925-EBDE-95D4-2D88-F398A62CF22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18A1DA33-10B1-31C6-4F3E-733C3C091AC8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2D620F21-05BF-F95B-C14A-4352541CBB7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3C3B0BC4-9820-4929-E06D-9A548402BF4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D70F906E-1503-413A-59C1-C381F5AD64E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2" name="empower_classification_placeholder" hidden="1">
            <a:extLst>
              <a:ext uri="{FF2B5EF4-FFF2-40B4-BE49-F238E27FC236}">
                <a16:creationId xmlns:a16="http://schemas.microsoft.com/office/drawing/2014/main" id="{16CAF0EA-03C5-94C8-FE92-5F872D45247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19DD8F3B-975A-D07F-2CF9-CE445AE20FE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ontent Left">
            <a:extLst>
              <a:ext uri="{FF2B5EF4-FFF2-40B4-BE49-F238E27FC236}">
                <a16:creationId xmlns:a16="http://schemas.microsoft.com/office/drawing/2014/main" id="{BD9CC625-482D-40A1-B6FE-DF727324B6A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02400" y="1268414"/>
            <a:ext cx="2520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76DF5687-C750-4C1B-B84C-64CFD3BDB99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2965450" y="1268414"/>
            <a:ext cx="244951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92A74BE3-1DB2-4955-9442-723C3700D6B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5557838" y="1268414"/>
            <a:ext cx="2449512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3D2A6EE3-D0C1-48DA-B616-CD1850403CE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50226" y="1268414"/>
            <a:ext cx="252095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00CE1A28-616A-4199-912D-86ED4148C1F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8CE3617-1542-47C1-8BF2-60D211485CF5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40EA8B41-A171-46E5-AC6B-E379DCBA181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915B184B-E102-4EA1-9DB3-DDE6CBF61025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F6F71A7B-BDB2-45F0-BD03-1E9F3835C33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501" userDrawn="1">
          <p15:clr>
            <a:srgbClr val="FBAE40"/>
          </p15:clr>
        </p15:guide>
        <p15:guide id="2" pos="3411" userDrawn="1">
          <p15:clr>
            <a:srgbClr val="FBAE40"/>
          </p15:clr>
        </p15:guide>
        <p15:guide id="3" pos="1868" userDrawn="1">
          <p15:clr>
            <a:srgbClr val="FBAE40"/>
          </p15:clr>
        </p15:guide>
        <p15:guide id="4" pos="1778" userDrawn="1">
          <p15:clr>
            <a:srgbClr val="FBAE40"/>
          </p15:clr>
        </p15:guide>
        <p15:guide id="5" pos="5044" userDrawn="1">
          <p15:clr>
            <a:srgbClr val="FBAE40"/>
          </p15:clr>
        </p15:guide>
        <p15:guide id="6" pos="5134" userDrawn="1">
          <p15:clr>
            <a:srgbClr val="FBAE40"/>
          </p15:clr>
        </p15:guide>
        <p15:guide id="7" pos="6722" userDrawn="1">
          <p15:clr>
            <a:srgbClr val="FBAE40"/>
          </p15:clr>
        </p15:guide>
        <p15:guide id="8" pos="190" userDrawn="1">
          <p15:clr>
            <a:srgbClr val="FBAE40"/>
          </p15:clr>
        </p15:guide>
        <p15:guide id="9" orient="horz" pos="799" userDrawn="1">
          <p15:clr>
            <a:srgbClr val="FBAE40"/>
          </p15:clr>
        </p15:guide>
        <p15:guide id="10" orient="horz" pos="402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mpower_additionalText_placeholder" hidden="1">
            <a:extLst>
              <a:ext uri="{FF2B5EF4-FFF2-40B4-BE49-F238E27FC236}">
                <a16:creationId xmlns:a16="http://schemas.microsoft.com/office/drawing/2014/main" id="{0A81DB1D-385C-E48C-6A5A-F5E87AF12929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document_placeholder" hidden="1">
            <a:extLst>
              <a:ext uri="{FF2B5EF4-FFF2-40B4-BE49-F238E27FC236}">
                <a16:creationId xmlns:a16="http://schemas.microsoft.com/office/drawing/2014/main" id="{B5CDE9BC-CB5A-8DDA-6A8F-A1EE1CB509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proprietary_placeholder" hidden="1">
            <a:extLst>
              <a:ext uri="{FF2B5EF4-FFF2-40B4-BE49-F238E27FC236}">
                <a16:creationId xmlns:a16="http://schemas.microsoft.com/office/drawing/2014/main" id="{544BF8E3-179A-5800-679B-23DE9009C17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21" name="empower_draft_placeholder" hidden="1">
            <a:extLst>
              <a:ext uri="{FF2B5EF4-FFF2-40B4-BE49-F238E27FC236}">
                <a16:creationId xmlns:a16="http://schemas.microsoft.com/office/drawing/2014/main" id="{CF8AE2F3-8AD3-374C-459A-8311EBDFC88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footer_placeholder">
            <a:extLst>
              <a:ext uri="{FF2B5EF4-FFF2-40B4-BE49-F238E27FC236}">
                <a16:creationId xmlns:a16="http://schemas.microsoft.com/office/drawing/2014/main" id="{8F389F7D-CE48-CE23-4B37-186EC4B19D2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3" name="empower_classification_attention_placeholder" hidden="1">
            <a:extLst>
              <a:ext uri="{FF2B5EF4-FFF2-40B4-BE49-F238E27FC236}">
                <a16:creationId xmlns:a16="http://schemas.microsoft.com/office/drawing/2014/main" id="{063E4CB8-4C76-7305-F8DD-1FD34DFAC16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5" name="empower_classification_placeholder" hidden="1">
            <a:extLst>
              <a:ext uri="{FF2B5EF4-FFF2-40B4-BE49-F238E27FC236}">
                <a16:creationId xmlns:a16="http://schemas.microsoft.com/office/drawing/2014/main" id="{5A248A9F-BD0C-9CB8-42B2-C400DA47D8C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296370F3-AA8E-7A3B-AE81-6EF093DEDD1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ontent Top">
            <a:extLst>
              <a:ext uri="{FF2B5EF4-FFF2-40B4-BE49-F238E27FC236}">
                <a16:creationId xmlns:a16="http://schemas.microsoft.com/office/drawing/2014/main" id="{CED7309F-2A0B-4559-AC76-A63256A6D02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00990" y="1268414"/>
            <a:ext cx="10369152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2A937184-1D80-4C80-AA74-1276CE1DC22A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02400" y="2781300"/>
            <a:ext cx="2520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05593613-1B2D-4F34-852F-FAE805617F5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966400" y="2781300"/>
            <a:ext cx="244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9DC166AD-260E-4CD6-A1C7-FC20A3F83D6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558400" y="2781300"/>
            <a:ext cx="244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973C53DD-CE8C-43B6-A631-4F1F33C591CD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150400" y="2781300"/>
            <a:ext cx="2520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666497B1-E7DE-4DF7-ADD5-65D95A1A4A58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FD4C9EAE-6240-4BF5-8E6D-EA7DC779DF95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6790D42E-0B59-49C3-BB0F-7F6FB27429F8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40625342-9C19-4D2C-BAF2-C7A34998127B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3042326C-F56B-46EA-A8CA-D8873596078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3411" userDrawn="1">
          <p15:clr>
            <a:srgbClr val="FBAE40"/>
          </p15:clr>
        </p15:guide>
        <p15:guide id="2" orient="horz" pos="1752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1661" userDrawn="1">
          <p15:clr>
            <a:srgbClr val="FBAE40"/>
          </p15:clr>
        </p15:guide>
        <p15:guide id="5" orient="horz" pos="799" userDrawn="1">
          <p15:clr>
            <a:srgbClr val="FBAE40"/>
          </p15:clr>
        </p15:guide>
        <p15:guide id="6" pos="6722" userDrawn="1">
          <p15:clr>
            <a:srgbClr val="FBAE40"/>
          </p15:clr>
        </p15:guide>
        <p15:guide id="7" pos="190" userDrawn="1">
          <p15:clr>
            <a:srgbClr val="FBAE40"/>
          </p15:clr>
        </p15:guide>
        <p15:guide id="8" pos="1778" userDrawn="1">
          <p15:clr>
            <a:srgbClr val="FBAE40"/>
          </p15:clr>
        </p15:guide>
        <p15:guide id="9" pos="1868" userDrawn="1">
          <p15:clr>
            <a:srgbClr val="FBAE40"/>
          </p15:clr>
        </p15:guide>
        <p15:guide id="10" pos="3501" userDrawn="1">
          <p15:clr>
            <a:srgbClr val="FBAE40"/>
          </p15:clr>
        </p15:guide>
        <p15:guide id="11" pos="5044" userDrawn="1">
          <p15:clr>
            <a:srgbClr val="FBAE40"/>
          </p15:clr>
        </p15:guide>
        <p15:guide id="12" pos="513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8BDE9BE7-7865-FE9E-C3DB-A07196D7F7C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C59E3F1B-6DD7-5BB5-048D-D579927443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16708CBD-4301-86E7-DD2D-69404ED0A759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0E72ED5A-84CE-56C8-47CF-A5DA05AFEC2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footer_placeholder">
            <a:extLst>
              <a:ext uri="{FF2B5EF4-FFF2-40B4-BE49-F238E27FC236}">
                <a16:creationId xmlns:a16="http://schemas.microsoft.com/office/drawing/2014/main" id="{BF43DFCF-2136-CB8B-E5B5-4315558160E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1" name="empower_classification_attention_placeholder" hidden="1">
            <a:extLst>
              <a:ext uri="{FF2B5EF4-FFF2-40B4-BE49-F238E27FC236}">
                <a16:creationId xmlns:a16="http://schemas.microsoft.com/office/drawing/2014/main" id="{FACB160D-E80A-C361-3386-D95290ABB8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13" name="empower_classification_placeholder" hidden="1">
            <a:extLst>
              <a:ext uri="{FF2B5EF4-FFF2-40B4-BE49-F238E27FC236}">
                <a16:creationId xmlns:a16="http://schemas.microsoft.com/office/drawing/2014/main" id="{C26E5F06-C72E-06FC-BB71-BC427630D09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7" name="empower_date_placeholder">
            <a:extLst>
              <a:ext uri="{FF2B5EF4-FFF2-40B4-BE49-F238E27FC236}">
                <a16:creationId xmlns:a16="http://schemas.microsoft.com/office/drawing/2014/main" id="{902CB262-5258-EFB1-CFE4-05020FBDBCC4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EA13006-439C-46D5-8F0B-8939267D03DB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36A3EA01-1E50-447E-9D73-EDC982E40E50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72349B96-FBAF-4585-93B6-0CE384491769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7D98851C-1057-437C-A588-EEF32A6DDD5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190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pos="672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">
            <a:extLst>
              <a:ext uri="{FF2B5EF4-FFF2-40B4-BE49-F238E27FC236}">
                <a16:creationId xmlns:a16="http://schemas.microsoft.com/office/drawing/2014/main" id="{768E21D1-9F8F-4763-92D1-49980DD8432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0972800" cy="6858000"/>
          </a:xfrm>
          <a:solidFill>
            <a:srgbClr val="DCD5D7"/>
          </a:solidFill>
        </p:spPr>
        <p:txBody>
          <a:bodyPr tIns="0" bIns="792000" anchor="ctr" anchorCtr="0"/>
          <a:lstStyle>
            <a:lvl1pPr algn="ctr">
              <a:buNone/>
              <a:defRPr baseline="0"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11" name="MIO_AGENDA_IGNORE_NAVIGATION" hidden="1">
            <a:extLst>
              <a:ext uri="{FF2B5EF4-FFF2-40B4-BE49-F238E27FC236}">
                <a16:creationId xmlns:a16="http://schemas.microsoft.com/office/drawing/2014/main" id="{8744BF5A-DBA8-4BB4-8358-0D4753A1BC34}"/>
              </a:ext>
            </a:extLst>
          </p:cNvPr>
          <p:cNvSpPr/>
          <p:nvPr userDrawn="1"/>
        </p:nvSpPr>
        <p:spPr bwMode="auto">
          <a:xfrm>
            <a:off x="10754972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CHAPTER_REFERENCE" hidden="1">
            <a:extLst>
              <a:ext uri="{FF2B5EF4-FFF2-40B4-BE49-F238E27FC236}">
                <a16:creationId xmlns:a16="http://schemas.microsoft.com/office/drawing/2014/main" id="{593F5051-BBE5-4C56-B8B8-721BBCBA8F95}"/>
              </a:ext>
            </a:extLst>
          </p:cNvPr>
          <p:cNvSpPr/>
          <p:nvPr userDrawn="1"/>
        </p:nvSpPr>
        <p:spPr bwMode="auto">
          <a:xfrm>
            <a:off x="10754972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ED4E8E7-7097-43A6-BF15-11A9E2CE5F29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215377E-4FDC-4AE3-BB5E-F44966A93A3D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4AEEB2B8-A17D-4601-BE0E-78106F4C7E9D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46ECB642-4128-4BF8-8F8F-0F36E6B3F85D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 White">
            <a:extLst>
              <a:ext uri="{FF2B5EF4-FFF2-40B4-BE49-F238E27FC236}">
                <a16:creationId xmlns:a16="http://schemas.microsoft.com/office/drawing/2014/main" id="{94F4E5C8-5CA8-4F40-BC7E-16EC1AE676BF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D6BB3BF4-5336-4A17-AAE3-7AA8116486B7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2498068" y="2008506"/>
            <a:ext cx="5976664" cy="291299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4" name="MIO_AGENDA_LAST_SLIDE" hidden="1">
            <a:extLst>
              <a:ext uri="{FF2B5EF4-FFF2-40B4-BE49-F238E27FC236}">
                <a16:creationId xmlns:a16="http://schemas.microsoft.com/office/drawing/2014/main" id="{ECFA2B1D-2212-413A-A46B-F88E0E8D7A76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A8B0928F-80FD-4955-AC79-A88FBDFE3024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6A937E7A-F0F7-41A9-8250-2E1AAD01F57E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6DB9A0E-6F60-4B6E-8BD8-856D33C6AF2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DA543087-8E23-45F3-BBE6-E8CEF239ADE1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9563CBBC-1DD0-468F-ACD1-6DEAEA722A6F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MIO_Placeholder_Mapping" hidden="1">
            <a:extLst>
              <a:ext uri="{FF2B5EF4-FFF2-40B4-BE49-F238E27FC236}">
                <a16:creationId xmlns:a16="http://schemas.microsoft.com/office/drawing/2014/main" id="{433077B3-04F6-4C61-BFA8-CEF66ACDC6F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4B275D43-8364-4A74-94C3-5BA9D22FFE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574" y="2564904"/>
            <a:ext cx="3951658" cy="172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C9728897-8803-46FB-B4C3-EE9B9AEE75C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8654752" y="5517232"/>
            <a:ext cx="1908212" cy="93610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6" name="Background White">
            <a:extLst>
              <a:ext uri="{FF2B5EF4-FFF2-40B4-BE49-F238E27FC236}">
                <a16:creationId xmlns:a16="http://schemas.microsoft.com/office/drawing/2014/main" id="{FCB96766-B726-4C1E-8CB0-2534547DB76F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Crystal Picture Placeholder">
            <a:extLst>
              <a:ext uri="{FF2B5EF4-FFF2-40B4-BE49-F238E27FC236}">
                <a16:creationId xmlns:a16="http://schemas.microsoft.com/office/drawing/2014/main" id="{D86010DD-CD91-EA0F-4608-4350C2B2A4A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4684642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endParaRPr lang="de-DE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9AD71B2A-50C1-49B9-B4EA-23DD52530176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5227200" y="1756800"/>
            <a:ext cx="5184000" cy="1674000"/>
          </a:xfrm>
        </p:spPr>
        <p:txBody>
          <a:bodyPr lIns="0" tIns="0" rIns="0"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D5F81AFE-25AA-4B3E-BB1D-750550308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27200" y="3790800"/>
            <a:ext cx="5184000" cy="61555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GB" baseline="0" noProof="0" dirty="0">
                <a:latin typeface="+mn-lt"/>
                <a:ea typeface="+mn-ea"/>
                <a:cs typeface="+mn-cs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5" name="empower_classification_attention_placeholder" hidden="1">
            <a:extLst>
              <a:ext uri="{FF2B5EF4-FFF2-40B4-BE49-F238E27FC236}">
                <a16:creationId xmlns:a16="http://schemas.microsoft.com/office/drawing/2014/main" id="{4C0813C8-3BA2-414A-8621-C2CFFDB3C0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5227200" y="6489701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9" name="empower_classification_placeholder" hidden="1">
            <a:extLst>
              <a:ext uri="{FF2B5EF4-FFF2-40B4-BE49-F238E27FC236}">
                <a16:creationId xmlns:a16="http://schemas.microsoft.com/office/drawing/2014/main" id="{67B82B94-F4B2-43F2-86E9-5F8A4F43A48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5227200" y="6489701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FA65B83-B64F-4079-993C-B6AE2286A4C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7171113" y="6489701"/>
            <a:ext cx="3240087" cy="28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raft_placeholder" hidden="1">
            <a:extLst>
              <a:ext uri="{FF2B5EF4-FFF2-40B4-BE49-F238E27FC236}">
                <a16:creationId xmlns:a16="http://schemas.microsoft.com/office/drawing/2014/main" id="{F38CEF11-81EC-4740-8E65-4C03555E54C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6717600" y="6489373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NAVIGATION" hidden="1">
            <a:extLst>
              <a:ext uri="{FF2B5EF4-FFF2-40B4-BE49-F238E27FC236}">
                <a16:creationId xmlns:a16="http://schemas.microsoft.com/office/drawing/2014/main" id="{CB79D148-1528-4662-8C84-FD9244FFA7B8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2" name="MIO_AGENDA_IGNORE_CHAPTER_REFERENCE" hidden="1">
            <a:extLst>
              <a:ext uri="{FF2B5EF4-FFF2-40B4-BE49-F238E27FC236}">
                <a16:creationId xmlns:a16="http://schemas.microsoft.com/office/drawing/2014/main" id="{A1E94250-6EA5-4F49-A193-8A383B909D40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877D76DE-EDAF-49C6-86D1-FD3FD21D8EE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8DAE4B2D-5B1C-48F2-8FBE-79F25E2A0B1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300C9B6B-B20E-4210-8337-31C6F41C417C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D5384E1A-A1A6-44EC-B472-1E5C109DFD1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194" y="5608162"/>
            <a:ext cx="1681935" cy="73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9021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GO PROTECTION" hidden="1">
            <a:extLst>
              <a:ext uri="{FF2B5EF4-FFF2-40B4-BE49-F238E27FC236}">
                <a16:creationId xmlns:a16="http://schemas.microsoft.com/office/drawing/2014/main" id="{ABBD0DF8-54E3-434C-A5AF-3FD17EFBA3EC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8654752" y="5517232"/>
            <a:ext cx="1908212" cy="93610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Background White">
            <a:extLst>
              <a:ext uri="{FF2B5EF4-FFF2-40B4-BE49-F238E27FC236}">
                <a16:creationId xmlns:a16="http://schemas.microsoft.com/office/drawing/2014/main" id="{A5FD9530-697E-48A1-A066-FE5BA32773D5}"/>
              </a:ext>
            </a:extLst>
          </p:cNvPr>
          <p:cNvSpPr/>
          <p:nvPr userDrawn="1"/>
        </p:nvSpPr>
        <p:spPr bwMode="auto">
          <a:xfrm>
            <a:off x="0" y="0"/>
            <a:ext cx="109728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6400" tIns="86400" rIns="86400" bIns="86400" rtlCol="0" anchor="ctr"/>
          <a:lstStyle/>
          <a:p>
            <a:pPr algn="ctr" eaLnBrk="0" hangingPunct="0"/>
            <a:endParaRPr lang="en-US" sz="192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Crystal Shape">
            <a:extLst>
              <a:ext uri="{FF2B5EF4-FFF2-40B4-BE49-F238E27FC236}">
                <a16:creationId xmlns:a16="http://schemas.microsoft.com/office/drawing/2014/main" id="{2513F820-07DB-4655-4BDF-EDA52FF51DBF}"/>
              </a:ext>
            </a:extLst>
          </p:cNvPr>
          <p:cNvSpPr/>
          <p:nvPr userDrawn="1"/>
        </p:nvSpPr>
        <p:spPr bwMode="auto">
          <a:xfrm>
            <a:off x="2" y="2"/>
            <a:ext cx="109727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58000" y="5662800"/>
            <a:ext cx="763200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lang="en-GB" baseline="0" noProof="0" dirty="0">
                <a:latin typeface="+mn-lt"/>
                <a:ea typeface="+mn-ea"/>
                <a:cs typeface="+mn-cs"/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42E294B-4A18-467A-B1E3-360CBAAF9BD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54936" y="4194804"/>
            <a:ext cx="7632000" cy="1107996"/>
          </a:xfrm>
        </p:spPr>
        <p:txBody>
          <a:bodyPr lIns="0" tIns="0" rIns="0" bIns="0" anchor="b">
            <a:normAutofit/>
          </a:bodyPr>
          <a:lstStyle>
            <a:lvl1pPr algn="l">
              <a:defRPr sz="3600" baseline="0"/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6D11E8E2-E9B6-F3D8-8ACD-B8611D5B0348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4802200" y="6489701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7" name="empower_classification_placeholder" hidden="1">
            <a:extLst>
              <a:ext uri="{FF2B5EF4-FFF2-40B4-BE49-F238E27FC236}">
                <a16:creationId xmlns:a16="http://schemas.microsoft.com/office/drawing/2014/main" id="{4A86A38A-4FF9-DC40-6992-9BAA6067E04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4802400" y="6489701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document_placeholder" hidden="1">
            <a:extLst>
              <a:ext uri="{FF2B5EF4-FFF2-40B4-BE49-F238E27FC236}">
                <a16:creationId xmlns:a16="http://schemas.microsoft.com/office/drawing/2014/main" id="{8793A993-8381-CDFB-773D-6C03D0EB48B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556419" y="6489701"/>
            <a:ext cx="3240087" cy="28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46EE38A3-794E-185F-1C25-C935FE8E9D6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3796506" y="6489373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MIO_AGENDA_IGNORE_NAVIGATION" hidden="1">
            <a:extLst>
              <a:ext uri="{FF2B5EF4-FFF2-40B4-BE49-F238E27FC236}">
                <a16:creationId xmlns:a16="http://schemas.microsoft.com/office/drawing/2014/main" id="{3B6A4543-D892-4534-82F2-15D6BE47CDA4}"/>
              </a:ext>
            </a:extLst>
          </p:cNvPr>
          <p:cNvSpPr/>
          <p:nvPr userDrawn="1"/>
        </p:nvSpPr>
        <p:spPr bwMode="auto">
          <a:xfrm>
            <a:off x="10763423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5" name="MIO_AGENDA_IGNORE_CHAPTER_REFERENCE" hidden="1">
            <a:extLst>
              <a:ext uri="{FF2B5EF4-FFF2-40B4-BE49-F238E27FC236}">
                <a16:creationId xmlns:a16="http://schemas.microsoft.com/office/drawing/2014/main" id="{5D7A81D8-A0F6-4E23-90CD-D11F29C096C3}"/>
              </a:ext>
            </a:extLst>
          </p:cNvPr>
          <p:cNvSpPr/>
          <p:nvPr userDrawn="1"/>
        </p:nvSpPr>
        <p:spPr bwMode="auto">
          <a:xfrm>
            <a:off x="10763423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0EEC4AB-C60E-44C1-A0D6-EF2700B74F72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24D6A628-1118-41D6-A5D6-397504D03B60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DB3B7FB2-9A4C-449D-AF78-B8CA9AAC8215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6DBD6BF0-AC07-4553-8D23-D92F7E5BCC31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774AC447-48BD-47DC-8ACC-B0BEA93049C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194" y="5608162"/>
            <a:ext cx="1681935" cy="735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mpower_additionalText_placeholder" hidden="1">
            <a:extLst>
              <a:ext uri="{FF2B5EF4-FFF2-40B4-BE49-F238E27FC236}">
                <a16:creationId xmlns:a16="http://schemas.microsoft.com/office/drawing/2014/main" id="{FC0F6CF2-4850-4F61-BF72-BB4FFB9FE2A6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40CA70D6-B7A6-4280-839E-E62BB3293BA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F34D4CC6-E04B-440C-8149-9AB45A32553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1DCB7EC7-8D98-4962-8795-2BEEE0EC15A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154AA40B-67B1-441C-B6B8-E0EA686FAA2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0FDA6613-0A4E-4BAB-927F-BE3291FAB94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1" name="empower_classification_placeholder" hidden="1">
            <a:extLst>
              <a:ext uri="{FF2B5EF4-FFF2-40B4-BE49-F238E27FC236}">
                <a16:creationId xmlns:a16="http://schemas.microsoft.com/office/drawing/2014/main" id="{2157157E-42F1-4B4E-8481-EDFD30F6443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EA2AF8D2-78DF-414B-93B7-EAC4108BC05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95ACB19C-A9BB-4D64-AABC-CD7BB4315EA4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B2860158-C96B-443F-95BD-14C1F2BC627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183A8-024C-40A4-8AA4-31E3390CD8E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65889F9-2F60-450C-9E80-9234537E2727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927F74CB-24D2-4DCC-A9E3-50EB9030B32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90" userDrawn="1">
          <p15:clr>
            <a:srgbClr val="FBAE40"/>
          </p15:clr>
        </p15:guide>
        <p15:guide id="2" pos="6722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  <p15:guide id="6" pos="691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2999C636-1898-8CF3-B2BE-B678EB10E39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3C8BCF30-A002-D9CF-0379-B41E1A7EA32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9" name="empower_proprietary_placeholder" hidden="1">
            <a:extLst>
              <a:ext uri="{FF2B5EF4-FFF2-40B4-BE49-F238E27FC236}">
                <a16:creationId xmlns:a16="http://schemas.microsoft.com/office/drawing/2014/main" id="{5B03F274-29C2-B1E1-F20F-D2C90478C24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EF4644B7-CD1A-8FE1-0C08-A75E251EAF5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footer_placeholder">
            <a:extLst>
              <a:ext uri="{FF2B5EF4-FFF2-40B4-BE49-F238E27FC236}">
                <a16:creationId xmlns:a16="http://schemas.microsoft.com/office/drawing/2014/main" id="{3F012ABC-74BB-CD33-0048-70E48F803DE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5" name="empower_classification_attention_placeholder" hidden="1">
            <a:extLst>
              <a:ext uri="{FF2B5EF4-FFF2-40B4-BE49-F238E27FC236}">
                <a16:creationId xmlns:a16="http://schemas.microsoft.com/office/drawing/2014/main" id="{931CFAD5-0E4A-CA7C-C7E2-D4F60767470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19" name="empower_classification_placeholder" hidden="1">
            <a:extLst>
              <a:ext uri="{FF2B5EF4-FFF2-40B4-BE49-F238E27FC236}">
                <a16:creationId xmlns:a16="http://schemas.microsoft.com/office/drawing/2014/main" id="{B6643684-1CEF-B1B0-A7A5-61AECFD0AE6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date_placeholder">
            <a:extLst>
              <a:ext uri="{FF2B5EF4-FFF2-40B4-BE49-F238E27FC236}">
                <a16:creationId xmlns:a16="http://schemas.microsoft.com/office/drawing/2014/main" id="{ACA789C4-9107-5C6C-85DF-D8C61D931B2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1036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CBCFE1DB-537B-4EC9-BCF9-BCEA3A25E4B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FCDDE762-194D-484F-A113-0B26FFA1AAD0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8DA75BBB-2186-49FE-8449-CC976F258918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E0F1D2FB-F767-448E-9A2B-50343A17AF52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EE215D14-5C84-4532-B1C3-1E74A3C0CDD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190" userDrawn="1">
          <p15:clr>
            <a:srgbClr val="FBAE40"/>
          </p15:clr>
        </p15:guide>
        <p15:guide id="2" pos="6722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40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mpower_additionalText_placeholder" hidden="1">
            <a:extLst>
              <a:ext uri="{FF2B5EF4-FFF2-40B4-BE49-F238E27FC236}">
                <a16:creationId xmlns:a16="http://schemas.microsoft.com/office/drawing/2014/main" id="{33D7C1F3-94F1-6EFA-A85F-89148424681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ocument_placeholder" hidden="1">
            <a:extLst>
              <a:ext uri="{FF2B5EF4-FFF2-40B4-BE49-F238E27FC236}">
                <a16:creationId xmlns:a16="http://schemas.microsoft.com/office/drawing/2014/main" id="{F1EC3E29-B73A-5A7A-568B-D10202B60A2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27" name="empower_proprietary_placeholder" hidden="1">
            <a:extLst>
              <a:ext uri="{FF2B5EF4-FFF2-40B4-BE49-F238E27FC236}">
                <a16:creationId xmlns:a16="http://schemas.microsoft.com/office/drawing/2014/main" id="{8E03947D-B1D0-448F-BE23-9F040F5082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28" name="empower_draft_placeholder" hidden="1">
            <a:extLst>
              <a:ext uri="{FF2B5EF4-FFF2-40B4-BE49-F238E27FC236}">
                <a16:creationId xmlns:a16="http://schemas.microsoft.com/office/drawing/2014/main" id="{B6A1A932-0779-E754-17DD-825170C3065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empower_footer_placeholder">
            <a:extLst>
              <a:ext uri="{FF2B5EF4-FFF2-40B4-BE49-F238E27FC236}">
                <a16:creationId xmlns:a16="http://schemas.microsoft.com/office/drawing/2014/main" id="{FD0708DC-76A9-98B0-4D01-3CC12D751DF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30" name="empower_classification_attention_placeholder" hidden="1">
            <a:extLst>
              <a:ext uri="{FF2B5EF4-FFF2-40B4-BE49-F238E27FC236}">
                <a16:creationId xmlns:a16="http://schemas.microsoft.com/office/drawing/2014/main" id="{F7B48093-9524-4664-B0FD-969C1A0716D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31" name="empower_classification_placeholder" hidden="1">
            <a:extLst>
              <a:ext uri="{FF2B5EF4-FFF2-40B4-BE49-F238E27FC236}">
                <a16:creationId xmlns:a16="http://schemas.microsoft.com/office/drawing/2014/main" id="{0EFA95B4-F352-0494-7384-AEC4E0F2B3F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32" name="empower_date_placeholder">
            <a:extLst>
              <a:ext uri="{FF2B5EF4-FFF2-40B4-BE49-F238E27FC236}">
                <a16:creationId xmlns:a16="http://schemas.microsoft.com/office/drawing/2014/main" id="{57433103-1CB6-3B0F-0113-0F992AAA3B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4"/>
            <a:ext cx="511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5557837" y="1268414"/>
            <a:ext cx="5113337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F808B4FE-8056-43CB-A187-2C8DD05A0D35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5F380F-28B6-45AD-AEEA-200D873D5E9A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05B32F5C-3125-4631-98D5-FFB7072B2F38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9ED60882-CB23-4B73-A5CE-5F074D21CEB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F8968E9B-BC5A-4C64-9D62-EAD4E1B4B48A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6722" userDrawn="1">
          <p15:clr>
            <a:srgbClr val="FBAE40"/>
          </p15:clr>
        </p15:guide>
        <p15:guide id="2" pos="190" userDrawn="1">
          <p15:clr>
            <a:srgbClr val="FBAE40"/>
          </p15:clr>
        </p15:guide>
        <p15:guide id="3" pos="3411" userDrawn="1">
          <p15:clr>
            <a:srgbClr val="FBAE40"/>
          </p15:clr>
        </p15:guide>
        <p15:guide id="4" pos="3501" userDrawn="1">
          <p15:clr>
            <a:srgbClr val="FBAE40"/>
          </p15:clr>
        </p15:guide>
        <p15:guide id="5" orient="horz" pos="4020" userDrawn="1">
          <p15:clr>
            <a:srgbClr val="FBAE40"/>
          </p15:clr>
        </p15:guide>
        <p15:guide id="6" orient="horz" pos="79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White"/>
          <p:cNvSpPr/>
          <p:nvPr userDrawn="1"/>
        </p:nvSpPr>
        <p:spPr bwMode="auto">
          <a:xfrm>
            <a:off x="0" y="810000"/>
            <a:ext cx="10972800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6400" tIns="86400" rIns="86400" bIns="86400" rtlCol="0" anchor="ctr"/>
          <a:lstStyle/>
          <a:p>
            <a:pPr algn="ctr" eaLnBrk="0" hangingPunct="0"/>
            <a:endParaRPr lang="en-US" sz="192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Crystal Shape">
            <a:extLst>
              <a:ext uri="{FF2B5EF4-FFF2-40B4-BE49-F238E27FC236}">
                <a16:creationId xmlns:a16="http://schemas.microsoft.com/office/drawing/2014/main" id="{9BCF1974-2852-ABA3-37A9-9ABBA02781DA}"/>
              </a:ext>
            </a:extLst>
          </p:cNvPr>
          <p:cNvSpPr/>
          <p:nvPr userDrawn="1"/>
        </p:nvSpPr>
        <p:spPr>
          <a:xfrm rot="5400000">
            <a:off x="783176" y="-790433"/>
            <a:ext cx="6877803" cy="8444155"/>
          </a:xfrm>
          <a:custGeom>
            <a:avLst/>
            <a:gdLst>
              <a:gd name="connsiteX0" fmla="*/ 0 w 6877803"/>
              <a:gd name="connsiteY0" fmla="*/ 8444155 h 8444155"/>
              <a:gd name="connsiteX1" fmla="*/ 7258 w 6877803"/>
              <a:gd name="connsiteY1" fmla="*/ 727876 h 8444155"/>
              <a:gd name="connsiteX2" fmla="*/ 1733554 w 6877803"/>
              <a:gd name="connsiteY2" fmla="*/ 0 h 8444155"/>
              <a:gd name="connsiteX3" fmla="*/ 6877801 w 6877803"/>
              <a:gd name="connsiteY3" fmla="*/ 1136852 h 8444155"/>
              <a:gd name="connsiteX4" fmla="*/ 6877803 w 6877803"/>
              <a:gd name="connsiteY4" fmla="*/ 8444155 h 8444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77803" h="8444155">
                <a:moveTo>
                  <a:pt x="0" y="8444155"/>
                </a:moveTo>
                <a:lnTo>
                  <a:pt x="7258" y="727876"/>
                </a:lnTo>
                <a:lnTo>
                  <a:pt x="1733554" y="0"/>
                </a:lnTo>
                <a:lnTo>
                  <a:pt x="6877801" y="1136852"/>
                </a:lnTo>
                <a:lnTo>
                  <a:pt x="6877803" y="8444155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7E0739B-0864-48AE-BFCD-0A268069F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151" y="2134800"/>
            <a:ext cx="7309485" cy="684077"/>
          </a:xfrm>
        </p:spPr>
        <p:txBody>
          <a:bodyPr lIns="0" tIns="0" rIns="0" bIns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A8334D31-9B32-4202-BFBE-5921979788B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EF0FCE44-F98C-4EF8-99E2-8FE3FC1675AE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CHAPTER_REFERENCE" hidden="1">
            <a:extLst>
              <a:ext uri="{FF2B5EF4-FFF2-40B4-BE49-F238E27FC236}">
                <a16:creationId xmlns:a16="http://schemas.microsoft.com/office/drawing/2014/main" id="{AF4AAEE9-AEFF-4196-A009-F39FD50D7629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C5F041A3-BA00-4110-8881-BAE38119E9EA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5" name="Footer Placeholder 14" hidden="1">
            <a:extLst>
              <a:ext uri="{FF2B5EF4-FFF2-40B4-BE49-F238E27FC236}">
                <a16:creationId xmlns:a16="http://schemas.microsoft.com/office/drawing/2014/main" id="{63ADB5C9-8A2E-4A96-A853-7F6847BC96F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C7AEF16-B553-4A0E-B9E7-852AD21CDF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MIO_Placeholder_Mapping" hidden="1">
            <a:extLst>
              <a:ext uri="{FF2B5EF4-FFF2-40B4-BE49-F238E27FC236}">
                <a16:creationId xmlns:a16="http://schemas.microsoft.com/office/drawing/2014/main" id="{E61B651F-8AE0-43F6-8FEA-471F745B778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794" userDrawn="1">
          <p15:clr>
            <a:srgbClr val="FBAE40"/>
          </p15:clr>
        </p15:guide>
        <p15:guide id="2" pos="190" userDrawn="1">
          <p15:clr>
            <a:srgbClr val="FBAE40"/>
          </p15:clr>
        </p15:guide>
        <p15:guide id="3" orient="horz" pos="1774" userDrawn="1">
          <p15:clr>
            <a:srgbClr val="FBAE40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 White"/>
          <p:cNvSpPr/>
          <p:nvPr userDrawn="1"/>
        </p:nvSpPr>
        <p:spPr bwMode="auto">
          <a:xfrm>
            <a:off x="0" y="810000"/>
            <a:ext cx="10972800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86400" tIns="86400" rIns="86400" bIns="86400" rtlCol="0" anchor="ctr"/>
          <a:lstStyle/>
          <a:p>
            <a:pPr algn="ctr" eaLnBrk="0" hangingPunct="0"/>
            <a:endParaRPr lang="en-US" sz="192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Crystal Shape">
            <a:extLst>
              <a:ext uri="{FF2B5EF4-FFF2-40B4-BE49-F238E27FC236}">
                <a16:creationId xmlns:a16="http://schemas.microsoft.com/office/drawing/2014/main" id="{87156DF5-8539-CF3A-D24D-B58EF7416F5C}"/>
              </a:ext>
            </a:extLst>
          </p:cNvPr>
          <p:cNvSpPr/>
          <p:nvPr userDrawn="1"/>
        </p:nvSpPr>
        <p:spPr>
          <a:xfrm rot="16200000">
            <a:off x="5791969" y="1670708"/>
            <a:ext cx="6857999" cy="3516584"/>
          </a:xfrm>
          <a:custGeom>
            <a:avLst/>
            <a:gdLst>
              <a:gd name="connsiteX0" fmla="*/ 6857999 w 6857999"/>
              <a:gd name="connsiteY0" fmla="*/ 1129077 h 3516584"/>
              <a:gd name="connsiteX1" fmla="*/ 6857999 w 6857999"/>
              <a:gd name="connsiteY1" fmla="*/ 3516584 h 3516584"/>
              <a:gd name="connsiteX2" fmla="*/ 0 w 6857999"/>
              <a:gd name="connsiteY2" fmla="*/ 3516584 h 3516584"/>
              <a:gd name="connsiteX3" fmla="*/ 0 w 6857999"/>
              <a:gd name="connsiteY3" fmla="*/ 729579 h 3516584"/>
              <a:gd name="connsiteX4" fmla="*/ 1748945 w 6857999"/>
              <a:gd name="connsiteY4" fmla="*/ 0 h 351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516584">
                <a:moveTo>
                  <a:pt x="6857999" y="1129077"/>
                </a:moveTo>
                <a:lnTo>
                  <a:pt x="6857999" y="3516584"/>
                </a:lnTo>
                <a:lnTo>
                  <a:pt x="0" y="3516584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7E0739B-0864-48AE-BFCD-0A268069FB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151" y="2134800"/>
            <a:ext cx="7309485" cy="684077"/>
          </a:xfrm>
        </p:spPr>
        <p:txBody>
          <a:bodyPr lIns="0" tIns="0" rIns="0" bIns="0"/>
          <a:lstStyle>
            <a:lvl1pPr>
              <a:defRPr sz="3200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nter Section</a:t>
            </a:r>
          </a:p>
        </p:txBody>
      </p:sp>
      <p:sp>
        <p:nvSpPr>
          <p:cNvPr id="22" name="MIO_AGENDA_IGNORE_NAVIGATION" hidden="1">
            <a:extLst>
              <a:ext uri="{FF2B5EF4-FFF2-40B4-BE49-F238E27FC236}">
                <a16:creationId xmlns:a16="http://schemas.microsoft.com/office/drawing/2014/main" id="{EF0FCE44-F98C-4EF8-99E2-8FE3FC1675AE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1" name="MIO_AGENDA_IGNORE_CHAPTER_REFERENCE" hidden="1">
            <a:extLst>
              <a:ext uri="{FF2B5EF4-FFF2-40B4-BE49-F238E27FC236}">
                <a16:creationId xmlns:a16="http://schemas.microsoft.com/office/drawing/2014/main" id="{AF4AAEE9-AEFF-4196-A009-F39FD50D7629}"/>
              </a:ext>
            </a:extLst>
          </p:cNvPr>
          <p:cNvSpPr/>
          <p:nvPr userDrawn="1"/>
        </p:nvSpPr>
        <p:spPr bwMode="auto">
          <a:xfrm>
            <a:off x="1075677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C5F041A3-BA00-4110-8881-BAE38119E9EA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5" name="Footer Placeholder 14" hidden="1">
            <a:extLst>
              <a:ext uri="{FF2B5EF4-FFF2-40B4-BE49-F238E27FC236}">
                <a16:creationId xmlns:a16="http://schemas.microsoft.com/office/drawing/2014/main" id="{63ADB5C9-8A2E-4A96-A853-7F6847BC96F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C7AEF16-B553-4A0E-B9E7-852AD21CDF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BF3D1184-C388-4CA5-9AD5-14369335CA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1062" y="207020"/>
            <a:ext cx="1120252" cy="489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90342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4794" userDrawn="1">
          <p15:clr>
            <a:srgbClr val="FBAE40"/>
          </p15:clr>
        </p15:guide>
        <p15:guide id="2" pos="190" userDrawn="1">
          <p15:clr>
            <a:srgbClr val="FBAE40"/>
          </p15:clr>
        </p15:guide>
        <p15:guide id="3" orient="horz" pos="1774" userDrawn="1">
          <p15:clr>
            <a:srgbClr val="FBAE40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mpower_additionalText_placeholder" hidden="1">
            <a:extLst>
              <a:ext uri="{FF2B5EF4-FFF2-40B4-BE49-F238E27FC236}">
                <a16:creationId xmlns:a16="http://schemas.microsoft.com/office/drawing/2014/main" id="{27BB50A5-669C-8B82-8A4A-2724EE9CBFF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auto">
          <a:xfrm rot="16200000">
            <a:off x="9969747" y="2010028"/>
            <a:ext cx="1727202" cy="25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72000" rIns="72000" bIns="72000" rtlCol="0" anchor="ctr" anchorCtr="0">
            <a:noAutofit/>
          </a:bodyPr>
          <a:lstStyle/>
          <a:p>
            <a:pPr marL="0" marR="0" indent="0" algn="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endParaRPr lang="en-US" sz="7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empower_document_placeholder" hidden="1">
            <a:extLst>
              <a:ext uri="{FF2B5EF4-FFF2-40B4-BE49-F238E27FC236}">
                <a16:creationId xmlns:a16="http://schemas.microsoft.com/office/drawing/2014/main" id="{B96EDEE9-4055-CE95-7AAA-27AA4F927DC8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auto">
          <a:xfrm rot="16200000">
            <a:off x="9537101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0" name="empower_proprietary_placeholder" hidden="1">
            <a:extLst>
              <a:ext uri="{FF2B5EF4-FFF2-40B4-BE49-F238E27FC236}">
                <a16:creationId xmlns:a16="http://schemas.microsoft.com/office/drawing/2014/main" id="{B6028795-BA17-0EF1-DE3F-26C0AEF77CF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auto">
          <a:xfrm>
            <a:off x="8546650" y="6562800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78BE0F0E-24B6-6BFA-79AA-7DF83C21AC0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auto">
          <a:xfrm>
            <a:off x="7863360" y="6562800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5307742A-ECDA-B268-D1EB-D6236675EF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3938229" y="6562800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B0328A04-3E10-0D87-0C6C-5D671E56CD1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1201738" y="6562800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 Marking</a:t>
            </a:r>
          </a:p>
        </p:txBody>
      </p:sp>
      <p:sp>
        <p:nvSpPr>
          <p:cNvPr id="22" name="empower_classification_placeholder" hidden="1">
            <a:extLst>
              <a:ext uri="{FF2B5EF4-FFF2-40B4-BE49-F238E27FC236}">
                <a16:creationId xmlns:a16="http://schemas.microsoft.com/office/drawing/2014/main" id="{008921F0-C1C4-4638-F55A-C575FFD6426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1201738" y="6562800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C2E9C761-139E-BFCC-07A0-EA0EFDC8F1C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302400" y="6562800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02400" y="1268412"/>
            <a:ext cx="5112000" cy="23050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5558400" y="1268412"/>
            <a:ext cx="5112000" cy="2304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02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5558400" y="3860801"/>
            <a:ext cx="5112000" cy="25209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01824" y="188720"/>
            <a:ext cx="8640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3" name="LOGO PROTECTION" hidden="1">
            <a:extLst>
              <a:ext uri="{FF2B5EF4-FFF2-40B4-BE49-F238E27FC236}">
                <a16:creationId xmlns:a16="http://schemas.microsoft.com/office/drawing/2014/main" id="{1962C4F3-E681-4A17-9CB0-DA55252D800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9122804" y="1"/>
            <a:ext cx="1849996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06AB35A-0EFA-4331-9D35-1DB4EA53977E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FF06527-8E36-4111-ADD1-F7AFEC84981F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38A1031F-3135-4ABA-8E01-421035E5A933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5" name="MIO_Placeholder_Mapping" hidden="1">
            <a:extLst>
              <a:ext uri="{FF2B5EF4-FFF2-40B4-BE49-F238E27FC236}">
                <a16:creationId xmlns:a16="http://schemas.microsoft.com/office/drawing/2014/main" id="{0F515058-FC7D-4A04-8B35-F8542A66BC2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6722" userDrawn="1">
          <p15:clr>
            <a:srgbClr val="FBAE40"/>
          </p15:clr>
        </p15:guide>
        <p15:guide id="2" pos="190" userDrawn="1">
          <p15:clr>
            <a:srgbClr val="FBAE40"/>
          </p15:clr>
        </p15:guide>
        <p15:guide id="3" pos="3411" userDrawn="1">
          <p15:clr>
            <a:srgbClr val="FBAE40"/>
          </p15:clr>
        </p15:guide>
        <p15:guide id="4" pos="3501" userDrawn="1">
          <p15:clr>
            <a:srgbClr val="FBAE40"/>
          </p15:clr>
        </p15:guide>
        <p15:guide id="5" orient="horz" pos="2251" userDrawn="1">
          <p15:clr>
            <a:srgbClr val="FBAE40"/>
          </p15:clr>
        </p15:guide>
        <p15:guide id="6" orient="horz" pos="799" userDrawn="1">
          <p15:clr>
            <a:srgbClr val="FBAE40"/>
          </p15:clr>
        </p15:guide>
        <p15:guide id="7" orient="horz" pos="4020" userDrawn="1">
          <p15:clr>
            <a:srgbClr val="FBAE40"/>
          </p15:clr>
        </p15:guide>
        <p15:guide id="8" orient="horz" pos="243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" hidden="1">
            <a:extLst>
              <a:ext uri="{FF2B5EF4-FFF2-40B4-BE49-F238E27FC236}">
                <a16:creationId xmlns:a16="http://schemas.microsoft.com/office/drawing/2014/main" id="{F1EFEA91-FDD2-456F-87D7-A7A375593F8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>
          <a:xfrm>
            <a:off x="109728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ct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2" name="Slide Number Placeholder" hidden="1">
            <a:extLst>
              <a:ext uri="{FF2B5EF4-FFF2-40B4-BE49-F238E27FC236}">
                <a16:creationId xmlns:a16="http://schemas.microsoft.com/office/drawing/2014/main" id="{397256F6-B23E-44A7-8399-213995311A85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1"/>
            </p:custDataLst>
          </p:nvPr>
        </p:nvSpPr>
        <p:spPr>
          <a:xfrm>
            <a:off x="109728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30" name="Title"/>
          <p:cNvSpPr>
            <a:spLocks noGrp="1"/>
          </p:cNvSpPr>
          <p:nvPr>
            <p:ph type="title"/>
          </p:nvPr>
        </p:nvSpPr>
        <p:spPr>
          <a:xfrm>
            <a:off x="302400" y="188720"/>
            <a:ext cx="8640000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1" name="Content"/>
          <p:cNvSpPr>
            <a:spLocks noGrp="1"/>
          </p:cNvSpPr>
          <p:nvPr>
            <p:ph type="body" idx="1"/>
          </p:nvPr>
        </p:nvSpPr>
        <p:spPr>
          <a:xfrm>
            <a:off x="302400" y="1268414"/>
            <a:ext cx="10368916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Date Placeholder" hidden="1">
            <a:extLst>
              <a:ext uri="{FF2B5EF4-FFF2-40B4-BE49-F238E27FC236}">
                <a16:creationId xmlns:a16="http://schemas.microsoft.com/office/drawing/2014/main" id="{37FB5A22-C6F5-4FC5-9C97-FACE59312190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09728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l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dirty="0">
              <a:latin typeface="+mn-lt"/>
              <a:ea typeface="+mn-ea"/>
              <a:cs typeface="+mn-cs"/>
            </a:endParaRPr>
          </a:p>
        </p:txBody>
      </p:sp>
      <p:sp>
        <p:nvSpPr>
          <p:cNvPr id="6" name="Fixed Page Placeholder">
            <a:extLst>
              <a:ext uri="{FF2B5EF4-FFF2-40B4-BE49-F238E27FC236}">
                <a16:creationId xmlns:a16="http://schemas.microsoft.com/office/drawing/2014/main" id="{E753510F-FED6-4A67-ADA6-83E9CB841C6E}"/>
              </a:ext>
            </a:extLst>
          </p:cNvPr>
          <p:cNvSpPr txBox="1"/>
          <p:nvPr userDrawn="1"/>
        </p:nvSpPr>
        <p:spPr bwMode="auto">
          <a:xfrm>
            <a:off x="10325673" y="6562800"/>
            <a:ext cx="3456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Tx/>
              <a:buNone/>
              <a:tabLst/>
            </a:pPr>
            <a:fld id="{1132C91C-5369-4079-9FDD-6CF14137FA1B}" type="slidenum">
              <a:rPr lang="de-DE" sz="800" ker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914400" eaLnBrk="0" fontAlgn="auto" latinLnBrk="0" hangingPunct="0"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kern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7C5F62A-4FA5-4714-9A9C-C1556B205C4A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1062" y="207020"/>
            <a:ext cx="1120254" cy="4899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6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7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5pPr>
      <a:lvl6pPr marL="54864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6pPr>
      <a:lvl7pPr marL="109728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7pPr>
      <a:lvl8pPr marL="164592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8pPr>
      <a:lvl9pPr marL="2194560" algn="l" rtl="0" eaLnBrk="1" fontAlgn="base" hangingPunct="1">
        <a:spcBef>
          <a:spcPct val="0"/>
        </a:spcBef>
        <a:spcAft>
          <a:spcPct val="0"/>
        </a:spcAft>
        <a:defRPr sz="3120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a.co/d/cFoK95p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patrick.kane@infineon.com" TargetMode="External"/><Relationship Id="rId2" Type="http://schemas.openxmlformats.org/officeDocument/2006/relationships/hyperlink" Target="mailto:corey.wilner@infineon.com" TargetMode="Externa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DDF70A43-D39F-7767-F17D-380DE5DA96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293ECA8-3DF4-68DA-EFB7-9568936C3EC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Corey Wilner – Infineon Fellow FAE</a:t>
            </a:r>
          </a:p>
          <a:p>
            <a:r>
              <a:rPr lang="de-DE" dirty="0"/>
              <a:t>Patrick Kane – Director, Infineon University Allianc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5667A2-0179-4DAD-DC3A-7A880730B7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UIUC ECE445 Project Idea</a:t>
            </a:r>
            <a:br>
              <a:rPr lang="de-DE" dirty="0"/>
            </a:br>
            <a:r>
              <a:rPr lang="de-DE" dirty="0"/>
              <a:t>Fall 2023</a:t>
            </a:r>
          </a:p>
        </p:txBody>
      </p:sp>
    </p:spTree>
    <p:extLst>
      <p:ext uri="{BB962C8B-B14F-4D97-AF65-F5344CB8AC3E}">
        <p14:creationId xmlns:p14="http://schemas.microsoft.com/office/powerpoint/2010/main" val="3526339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AD6E4FA-D351-42C9-B19A-573E0174129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n 2016, Cypress (now an Infineon company) wanted to build a Robot Kit for hobbyists that illustrated the capabilities of the Cypress </a:t>
            </a:r>
            <a:r>
              <a:rPr lang="en-US" dirty="0" err="1"/>
              <a:t>PSoC</a:t>
            </a:r>
            <a:r>
              <a:rPr lang="en-US" dirty="0"/>
              <a:t> processor</a:t>
            </a:r>
          </a:p>
          <a:p>
            <a:r>
              <a:rPr lang="en-US" dirty="0"/>
              <a:t>In 2023, now that Cypress is part of Infineon, there is more content that can be provided by Infineon and its multiple divisions. And newer </a:t>
            </a:r>
            <a:r>
              <a:rPr lang="en-US" dirty="0" err="1"/>
              <a:t>PSoC’s</a:t>
            </a:r>
            <a:r>
              <a:rPr lang="en-US" dirty="0"/>
              <a:t>!</a:t>
            </a:r>
          </a:p>
          <a:p>
            <a:endParaRPr lang="en-US" dirty="0"/>
          </a:p>
          <a:p>
            <a:r>
              <a:rPr lang="en-US" b="1" dirty="0"/>
              <a:t>Project Goal for 2023:</a:t>
            </a:r>
          </a:p>
          <a:p>
            <a:r>
              <a:rPr lang="en-US" dirty="0"/>
              <a:t>Develop a robot that can be used in the Infineon University Alliance Program as a demo at events or to encourage other Universities to teach basic electronics and programming skills.</a:t>
            </a:r>
          </a:p>
          <a:p>
            <a:r>
              <a:rPr lang="en-US" dirty="0"/>
              <a:t>Robot could also be used at trade shows to illustrate the many products that Infineon designs and sells</a:t>
            </a:r>
          </a:p>
          <a:p>
            <a:r>
              <a:rPr lang="en-US" dirty="0"/>
              <a:t>Student groups could start with a Robot kit available from Amazon and build all the electronics and programming on the wheel/motor base.</a:t>
            </a:r>
          </a:p>
          <a:p>
            <a:r>
              <a:rPr lang="en-US" dirty="0"/>
              <a:t>Or, students could build their own wheel/motor base and completely “roll your own”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3160E1-4039-7E9A-E351-3245EFD5E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other Robot Idea!  </a:t>
            </a:r>
            <a:br>
              <a:rPr lang="de-DE" dirty="0"/>
            </a:br>
            <a:r>
              <a:rPr lang="de-DE" dirty="0"/>
              <a:t>(See Fall 2016 Sr Design Instructor‘s Award Winner)</a:t>
            </a:r>
          </a:p>
        </p:txBody>
      </p:sp>
    </p:spTree>
    <p:extLst>
      <p:ext uri="{BB962C8B-B14F-4D97-AF65-F5344CB8AC3E}">
        <p14:creationId xmlns:p14="http://schemas.microsoft.com/office/powerpoint/2010/main" val="2475968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FF1FF2-B8E0-B60A-3DA3-9CB800E9348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0412" y="1340768"/>
            <a:ext cx="4967977" cy="5113337"/>
          </a:xfrm>
        </p:spPr>
        <p:txBody>
          <a:bodyPr/>
          <a:lstStyle/>
          <a:p>
            <a:r>
              <a:rPr lang="de-DE" dirty="0"/>
              <a:t>Smart Robot Car Kit: </a:t>
            </a:r>
            <a:r>
              <a:rPr lang="de-DE" dirty="0">
                <a:hlinkClick r:id="rId2"/>
              </a:rPr>
              <a:t>https://a.co/d/cFoK95p</a:t>
            </a:r>
            <a:endParaRPr lang="de-DE" dirty="0"/>
          </a:p>
          <a:p>
            <a:r>
              <a:rPr lang="de-DE" dirty="0"/>
              <a:t>Only use the circled item as starting point</a:t>
            </a:r>
          </a:p>
          <a:p>
            <a:endParaRPr lang="de-DE" dirty="0"/>
          </a:p>
          <a:p>
            <a:r>
              <a:rPr lang="de-DE" dirty="0"/>
              <a:t>Tamiya Track and Wheel Set</a:t>
            </a:r>
          </a:p>
          <a:p>
            <a:r>
              <a:rPr lang="de-DE" dirty="0"/>
              <a:t>Tamiya Universal Plate Set</a:t>
            </a:r>
          </a:p>
          <a:p>
            <a:r>
              <a:rPr lang="de-DE" dirty="0"/>
              <a:t>Tamiya Twin-motor gearbox kit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9682164-17EB-2D81-41EE-1F6D35074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ample Motor/Wheel b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651F18-ABF1-7F36-64F8-31A7A7B628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4411" y="1340768"/>
            <a:ext cx="5003135" cy="489654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5124B55-C03C-0F4F-2577-E14CBC2B8D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3872" y="3580160"/>
            <a:ext cx="3633346" cy="265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818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2A92E23-49A8-9D02-C276-728CF87E230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Utilize Infineon </a:t>
            </a:r>
            <a:r>
              <a:rPr lang="en-US" dirty="0" err="1"/>
              <a:t>PSoC</a:t>
            </a:r>
            <a:r>
              <a:rPr lang="en-US" dirty="0"/>
              <a:t> 6 microcontroller</a:t>
            </a:r>
          </a:p>
          <a:p>
            <a:r>
              <a:rPr lang="en-US" dirty="0"/>
              <a:t>Develop your program with </a:t>
            </a:r>
            <a:r>
              <a:rPr lang="en-US" dirty="0" err="1"/>
              <a:t>ModusToolbox</a:t>
            </a:r>
            <a:r>
              <a:rPr lang="en-US" dirty="0"/>
              <a:t>™ </a:t>
            </a:r>
          </a:p>
          <a:p>
            <a:r>
              <a:rPr lang="en-US" dirty="0"/>
              <a:t>Provide </a:t>
            </a:r>
            <a:r>
              <a:rPr lang="en-US" u="sng" dirty="0"/>
              <a:t>local voice control </a:t>
            </a:r>
            <a:r>
              <a:rPr lang="en-US" dirty="0"/>
              <a:t>through Machine Learning</a:t>
            </a:r>
          </a:p>
          <a:p>
            <a:pPr lvl="1"/>
            <a:r>
              <a:rPr lang="en-US" dirty="0"/>
              <a:t>Use Infineon MEMS microphones</a:t>
            </a:r>
          </a:p>
          <a:p>
            <a:pPr lvl="1"/>
            <a:r>
              <a:rPr lang="en-US" dirty="0"/>
              <a:t>Use </a:t>
            </a:r>
            <a:r>
              <a:rPr lang="en-US" dirty="0" err="1"/>
              <a:t>Imagimob</a:t>
            </a:r>
            <a:r>
              <a:rPr lang="en-US" dirty="0"/>
              <a:t> (an Infineon ML company) to develop model to recognize keywords</a:t>
            </a:r>
          </a:p>
          <a:p>
            <a:pPr lvl="1"/>
            <a:r>
              <a:rPr lang="en-US" dirty="0"/>
              <a:t>Commands could be: “fast” “slow” “stop” “right” “reverse” etc.</a:t>
            </a:r>
          </a:p>
          <a:p>
            <a:r>
              <a:rPr lang="en-US" u="sng" dirty="0"/>
              <a:t>Obstacle avoidance </a:t>
            </a:r>
            <a:r>
              <a:rPr lang="en-US" dirty="0"/>
              <a:t>using Infineon 60GHz Radar modules</a:t>
            </a:r>
          </a:p>
          <a:p>
            <a:pPr lvl="1"/>
            <a:r>
              <a:rPr lang="en-US" dirty="0"/>
              <a:t>Example software available on Infineon GitHub</a:t>
            </a:r>
          </a:p>
          <a:p>
            <a:r>
              <a:rPr lang="en-US" u="sng" dirty="0"/>
              <a:t>Motor control </a:t>
            </a:r>
            <a:r>
              <a:rPr lang="en-US" dirty="0"/>
              <a:t>of the 2-4 motors on the kit</a:t>
            </a:r>
          </a:p>
          <a:p>
            <a:pPr lvl="1"/>
            <a:r>
              <a:rPr lang="en-US" dirty="0"/>
              <a:t>Use Infineon transistors for motor drive, magnetic speed sensors for control feedback</a:t>
            </a:r>
          </a:p>
          <a:p>
            <a:pPr lvl="1"/>
            <a:r>
              <a:rPr lang="en-US" dirty="0"/>
              <a:t>Control algorithms in the </a:t>
            </a:r>
            <a:r>
              <a:rPr lang="en-US" dirty="0" err="1"/>
              <a:t>PSoC</a:t>
            </a:r>
            <a:r>
              <a:rPr lang="en-US" dirty="0"/>
              <a:t> 6</a:t>
            </a:r>
          </a:p>
          <a:p>
            <a:r>
              <a:rPr lang="en-US" u="sng" dirty="0"/>
              <a:t>Line following </a:t>
            </a:r>
            <a:r>
              <a:rPr lang="en-US" dirty="0"/>
              <a:t>with optical sensing</a:t>
            </a:r>
          </a:p>
          <a:p>
            <a:pPr lvl="1"/>
            <a:r>
              <a:rPr lang="en-US" dirty="0"/>
              <a:t>Non-Infineon, many options are available on-line</a:t>
            </a:r>
          </a:p>
          <a:p>
            <a:r>
              <a:rPr lang="en-US" u="sng" dirty="0"/>
              <a:t>Power Supply </a:t>
            </a:r>
            <a:r>
              <a:rPr lang="en-US" dirty="0"/>
              <a:t>– onboard batteries, rechargeable preferred.</a:t>
            </a:r>
          </a:p>
          <a:p>
            <a:pPr lvl="1"/>
            <a:r>
              <a:rPr lang="en-US" dirty="0"/>
              <a:t>Use Infineon power products as much as possible</a:t>
            </a:r>
          </a:p>
          <a:p>
            <a:pPr lvl="1"/>
            <a:r>
              <a:rPr lang="en-US" dirty="0"/>
              <a:t>Most are for automotive applica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D45A641-7D33-CDDD-A90F-44B39E000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bot Requirement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7895B1-98EE-C718-5990-060483E2A90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3DEBA1-7727-E786-8935-B4BDCA7CE4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9CC4F3-F381-E01C-231B-EB592AC0EA7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996079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37F1186-680D-7FEF-A07F-7719DC0734AF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Additional “override” control from a phone</a:t>
            </a:r>
          </a:p>
          <a:p>
            <a:pPr lvl="1"/>
            <a:r>
              <a:rPr lang="en-US" dirty="0"/>
              <a:t>Use an Infineon Bluetooth Low Energy </a:t>
            </a:r>
            <a:r>
              <a:rPr lang="en-US" dirty="0" err="1"/>
              <a:t>uC</a:t>
            </a:r>
            <a:r>
              <a:rPr lang="en-US" dirty="0"/>
              <a:t> for communication</a:t>
            </a:r>
          </a:p>
          <a:p>
            <a:r>
              <a:rPr lang="en-US" dirty="0"/>
              <a:t>CO2 detection using Infineon CO2 detector module</a:t>
            </a:r>
          </a:p>
          <a:p>
            <a:pPr lvl="1"/>
            <a:r>
              <a:rPr lang="en-US" dirty="0"/>
              <a:t>Robot can check for a hazardous environment</a:t>
            </a:r>
          </a:p>
          <a:p>
            <a:r>
              <a:rPr lang="en-US" dirty="0"/>
              <a:t>Print your own 3D platform for the wheel base/motor housing</a:t>
            </a:r>
          </a:p>
          <a:p>
            <a:pPr lvl="1"/>
            <a:r>
              <a:rPr lang="en-US" dirty="0"/>
              <a:t>…and any other custom pieces</a:t>
            </a:r>
          </a:p>
          <a:p>
            <a:pPr lvl="1"/>
            <a:r>
              <a:rPr lang="en-US" dirty="0"/>
              <a:t>Would allow Infineon to put your design on the Infineon maker web page as a complete project</a:t>
            </a:r>
          </a:p>
          <a:p>
            <a:r>
              <a:rPr lang="en-US" dirty="0"/>
              <a:t>A different type of robot – does not have to be a vehicle</a:t>
            </a:r>
          </a:p>
          <a:p>
            <a:pPr lvl="1"/>
            <a:r>
              <a:rPr lang="en-US" dirty="0"/>
              <a:t>Must contain local voice control</a:t>
            </a:r>
          </a:p>
          <a:p>
            <a:pPr lvl="1"/>
            <a:r>
              <a:rPr lang="en-US" dirty="0"/>
              <a:t>Must contain motor control</a:t>
            </a:r>
          </a:p>
          <a:p>
            <a:pPr lvl="1"/>
            <a:r>
              <a:rPr lang="en-US" dirty="0"/>
              <a:t>Must have a practical use for the radar module</a:t>
            </a:r>
          </a:p>
          <a:p>
            <a:pPr lvl="1"/>
            <a:r>
              <a:rPr lang="en-US" dirty="0"/>
              <a:t>Propose an idea for approval by Infineon and the course instructor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2FC79A-D03D-A67A-8600-97752A6F1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nus Optional Featur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250EC3-6B5D-E06F-ECFF-4FDB30E14F4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508ED8-EF60-86D8-C8EC-8943FD7B4C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C839EB-BB2A-2077-944D-4DDE6EDAADF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23838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E8A9BE-4CBE-A6E4-9C80-5A0F20157EA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If you want to use one of the Infineon Development or Evaluation kits as your microcontroller base, this would be acceptable.</a:t>
            </a:r>
          </a:p>
          <a:p>
            <a:r>
              <a:rPr lang="en-US" dirty="0"/>
              <a:t>Your electronics on top of the base would have to be your own PCB (I believe this is a course requirement)</a:t>
            </a:r>
          </a:p>
          <a:p>
            <a:r>
              <a:rPr lang="en-US" dirty="0"/>
              <a:t>Let us know (Corey and Patrick) your BOM ASAP so we can get the parts you need delivered</a:t>
            </a:r>
          </a:p>
          <a:p>
            <a:pPr lvl="1"/>
            <a:r>
              <a:rPr lang="en-US" dirty="0">
                <a:hlinkClick r:id="rId2"/>
              </a:rPr>
              <a:t>corey.wilner@infineon.com</a:t>
            </a:r>
            <a:endParaRPr lang="en-US" dirty="0"/>
          </a:p>
          <a:p>
            <a:pPr lvl="1"/>
            <a:r>
              <a:rPr lang="en-US" dirty="0">
                <a:hlinkClick r:id="rId3"/>
              </a:rPr>
              <a:t>patrick.kane@infineon.com</a:t>
            </a:r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EBCD69A-8F75-EE9E-4A1C-4FB95A4AA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EFECE3-E743-D8CB-518A-A20863C44BC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b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C300C3-A59D-D68F-9404-59DA0F61460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670959-F57F-E474-BE36-D53E626DB3C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86266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1301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HlXR1jXIBFmnHgrBYL/H8FAAAAAAADAAAAAAADAAAAAwADAAMA////////BAAAAAMAEAALbwUEK2079Ue/gBidVW9CiAUAAAABAAMAAAACAAMAAAABAA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aAAZMaW5rZWRTaGFwZXNEYXRhUHJvcGVydHlfMAUAAAAAAAQAAAADAAQAAAABAAQAAAADAP///////wQAAAADAP///////wQAAAADAP///////wMABgEDAAAAAwD///////8lAAZMaW5rZWRTaGFwZVByZXNlbnRhdGlvblNldHRpbmdzRGF0YV8wBQAAAAEABAAAAAAABAAAAAIABAAAAAAABAAAAAIABAAAAAAABAAAAAI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LHlXR1jXIBFmnHgrBYL/H8DRGF0YQAbAAAABExpbmtlZFNoYXBlRGF0YQAFAAAAAAACTmFtZQAZAAAATGlua2VkU2hhcGVzRGF0YVByb3BlcnR5ABBWZXJzaW9uAAAAAAAJTGFzdFdyaXRlAOdgQ7OGAQAAAAEA/////8YAxgAAAAVfaWQAEAAAAARvBQQrbTv1R7+AGJ1Vb0KIA0RhdGEAUwAAAAhQcmVzZW50YXRpb25TY2FubmVkRm9yTGlua2VkU2hhcGVzAAECTnVtYmVyRm9ybWF0U2VwYXJhdG9yTW9kZQAKAAAAQXV0b21hdGljAAACTmFtZQAkAAAATGlua2VkU2hhcGVQcmVzZW50YXRpb25TZXR0aW5nc0RhdGEAEFZlcnNpb24AAAAAAAlMYXN0V3JpdGUAZmFDs4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36415829817418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and_Two_ColumnsMIOPlaceholderMapping.11MIOPlaceholderMapping-Infineon 16:10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Two_Columns_RowMIOPlaceholderMapping.12MIOPlaceholderMapping-Infineon 16:10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Three_ColumnsMIOPlaceholderMapping.13MIOPlaceholderMapping-Infineon 16:10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and_Three_ColumnsMIOPlaceholderMapping.14MIOPlaceholderMapping-Infineon 16:10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PresentationTitle_1MIOPlaceholderMapping.2MIOPlaceholderMapping-Infineon 16:10MIOPlaceholderMapping.Presentation title 1MIOPlaceholderMapping.1MIOPlaceholderMapping;Infineon 16:10MIOPlaceholderMapping.IFX_PresentationTitle_2MIOPlaceholderMapping.3MIOPlaceholderMapping-Infineon 16:10MIOPlaceholderMapping.Presentation title 1MIOPlaceholderMapping.1MIOPlaceholderMapping;Infineon 16:10MIOPlaceholderMapping.IFX_PresentationTitle_3MIOPlaceholderMapping.4MIOPlaceholderMapping-Infineon 16:10MIOPlaceholderMapping.Presentation title 1MIOPlaceholderMapping.1MIOPlaceholderMapping;Infineon 16:10MIOPlaceholderMapping.IFX_PresentationTitle_1MIOPlaceholderMapping.2MIOPlaceholderMapping.Picture Placeholder 18MIOPlaceholderMapping.12MIOPlaceholderMapping-Infineon 16:10MIOPlaceholderMapping.Presentation title 1MIOPlaceholderMapping.1MIOPlaceholderMapping.Crystal Picture PlaceholderMIOPlaceholderMapping.15MIOPlaceholderMapping;Infineon 16:10MIOPlaceholderMapping.IFX_PresentationTitle_2MIOPlaceholderMapping.3MIOPlaceholderMapping.Picture Placeholder 17MIOPlaceholderMapping.13MIOPlaceholderMapping-Infineon 16:10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Four_ColumnsMIOPlaceholderMapping.15MIOPlaceholderMapping-Infineon 16:10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Row_and_Four_ColumnsMIOPlaceholderMapping.16MIOPlaceholderMapping-Infineon 16:10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EmptyMIOPlaceholderMapping.17MIOPlaceholderMapping-Infineon 16:10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FullpicMIOPlaceholderMapping.18MIOPlaceholderMapping-Infineon 16:10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Final_ClaimMIOPlaceholderMapping.19MIOPlaceholderMapping-Infineon 16:10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PresentationTitleMIOPlaceholderMapping.1MIOPlaceholderMapping-Infineon 16:10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OnlyMIOPlaceholderMapping.5MIOPlaceholderMapping-Infineon 16:10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54427a43-e0d1-47f0-bca5-1e36759074dd"/>
  <p:tag name="MIO_UPDATE" val="True"/>
  <p:tag name="MIO_DBID" val="FDE84254-54DB-49E3-9A0E-CDE72035D530"/>
  <p:tag name="MIO_OBJECTNAME" val="Infineon Beamer 16:10"/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VERSION" val="13.05.2023 07:13:17"/>
  <p:tag name="MIO_LASTDOWNLOADED" val="30.08.2023 09:58:09.783"/>
  <p:tag name="MIO_CDID" val="de08b4b3-8e0e-4e73-a4b9-b4f4adede35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ContentMIOPlaceholderMapping.6MIOPlaceholderMapping-Infineon 16:10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Two_ContentMIOPlaceholderMapping.8MIOPlaceholderMapping-Infineon 16:10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SectionMIOPlaceholderMapping.9MIOPlaceholderMapping-Infineon 16:10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10MIOPlaceholderMapping.IFX_Title_and_Four_ContentMIOPlaceholderMapping.10MIOPlaceholderMapping-Infineon 16:10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10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85750" marR="0" indent="-28575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accent1"/>
          </a:buClr>
          <a:buSzTx/>
          <a:buFont typeface="Arial" panose="020B0604020202020204" pitchFamily="34" charset="0"/>
          <a:buChar char="‒"/>
          <a:tabLst/>
          <a:defRPr sz="1800" kern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Presentation1" id="{11FEE4CC-F07B-4F15-87EB-19E939D7F171}" vid="{2A8559B9-5B55-4EB2-915D-EB1C23776B65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fineonTemplate_16_10</Template>
  <TotalTime>116</TotalTime>
  <Words>567</Words>
  <Application>Microsoft Office PowerPoint</Application>
  <PresentationFormat>Custom</PresentationFormat>
  <Paragraphs>65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Arial</vt:lpstr>
      <vt:lpstr>Infineon 16:10</vt:lpstr>
      <vt:lpstr>UIUC ECE445 Project Idea Fall 2023</vt:lpstr>
      <vt:lpstr>Another Robot Idea!   (See Fall 2016 Sr Design Instructor‘s Award Winner)</vt:lpstr>
      <vt:lpstr>Example Motor/Wheel bases</vt:lpstr>
      <vt:lpstr>Robot Requirements</vt:lpstr>
      <vt:lpstr>Bonus Optional Features</vt:lpstr>
      <vt:lpstr>Not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nfineon</dc:creator>
  <cp:lastModifiedBy>Wilner Corey (CYSC CSS SMD AMR S EC)</cp:lastModifiedBy>
  <cp:revision>65</cp:revision>
  <dcterms:created xsi:type="dcterms:W3CDTF">2020-10-08T17:53:13Z</dcterms:created>
  <dcterms:modified xsi:type="dcterms:W3CDTF">2023-09-05T21:5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empower.integration.Classification.DocumentId">
    <vt:lpwstr/>
  </property>
  <property fmtid="{D5CDD505-2E9C-101B-9397-08002B2CF9AE}" pid="9" name="empower.integration.Classification.DocumentVersion">
    <vt:lpwstr/>
  </property>
  <property fmtid="{D5CDD505-2E9C-101B-9397-08002B2CF9AE}" pid="10" name="empower.integration.Classification.DocumentOwner">
    <vt:lpwstr/>
  </property>
  <property fmtid="{D5CDD505-2E9C-101B-9397-08002B2CF9AE}" pid="11" name="empower.integration.Classification.ShowFooter">
    <vt:bool>true</vt:bool>
  </property>
  <property fmtid="{D5CDD505-2E9C-101B-9397-08002B2CF9AE}" pid="12" name="empower.integration.Classification.RestrictionLevel">
    <vt:i4>0</vt:i4>
  </property>
  <property fmtid="{D5CDD505-2E9C-101B-9397-08002B2CF9AE}" pid="13" name="empower.integration.Classification.FooterDate">
    <vt:filetime>2023-03-18T12:32:35Z</vt:filetime>
  </property>
  <property fmtid="{D5CDD505-2E9C-101B-9397-08002B2CF9AE}" pid="14" name="empower.integration.Classification.DateFormat">
    <vt:lpwstr>d MMM yyyy</vt:lpwstr>
  </property>
  <property fmtid="{D5CDD505-2E9C-101B-9397-08002B2CF9AE}" pid="15" name="empower.integration.Classification.IsDraft">
    <vt:bool>false</vt:bool>
  </property>
  <property fmtid="{D5CDD505-2E9C-101B-9397-08002B2CF9AE}" pid="16" name="empower.integration.Classification.IsProprietary">
    <vt:bool>false</vt:bool>
  </property>
  <property fmtid="{D5CDD505-2E9C-101B-9397-08002B2CF9AE}" pid="17" name="empower.integration.Classification.HasAdditionalMarking">
    <vt:bool>false</vt:bool>
  </property>
  <property fmtid="{D5CDD505-2E9C-101B-9397-08002B2CF9AE}" pid="18" name="empower.integration.Classification.AdditionalMarking">
    <vt:lpwstr/>
  </property>
  <property fmtid="{D5CDD505-2E9C-101B-9397-08002B2CF9AE}" pid="19" name="empower.integration.Classification.IsEmpowerClassified">
    <vt:bool>true</vt:bool>
  </property>
  <property fmtid="{D5CDD505-2E9C-101B-9397-08002B2CF9AE}" pid="20" name="empower_migrated_document">
    <vt:lpwstr>true</vt:lpwstr>
  </property>
  <property fmtid="{D5CDD505-2E9C-101B-9397-08002B2CF9AE}" pid="21" name="MSIP_Label_a15a25aa-e944-415d-b7a7-40f6b9180b6b_Enabled">
    <vt:lpwstr>true</vt:lpwstr>
  </property>
  <property fmtid="{D5CDD505-2E9C-101B-9397-08002B2CF9AE}" pid="22" name="MSIP_Label_a15a25aa-e944-415d-b7a7-40f6b9180b6b_SetDate">
    <vt:lpwstr>2023-03-24T13:49:03Z</vt:lpwstr>
  </property>
  <property fmtid="{D5CDD505-2E9C-101B-9397-08002B2CF9AE}" pid="23" name="MSIP_Label_a15a25aa-e944-415d-b7a7-40f6b9180b6b_Method">
    <vt:lpwstr>Standard</vt:lpwstr>
  </property>
  <property fmtid="{D5CDD505-2E9C-101B-9397-08002B2CF9AE}" pid="24" name="MSIP_Label_a15a25aa-e944-415d-b7a7-40f6b9180b6b_Name">
    <vt:lpwstr>a15a25aa-e944-415d-b7a7-40f6b9180b6b</vt:lpwstr>
  </property>
  <property fmtid="{D5CDD505-2E9C-101B-9397-08002B2CF9AE}" pid="25" name="MSIP_Label_a15a25aa-e944-415d-b7a7-40f6b9180b6b_SiteId">
    <vt:lpwstr>eeb8d0e8-3544-41d3-aac6-934c309faf5a</vt:lpwstr>
  </property>
  <property fmtid="{D5CDD505-2E9C-101B-9397-08002B2CF9AE}" pid="26" name="MSIP_Label_a15a25aa-e944-415d-b7a7-40f6b9180b6b_ActionId">
    <vt:lpwstr>61c46aa4-4425-42a4-ac4f-ca0a4cd31fcd</vt:lpwstr>
  </property>
  <property fmtid="{D5CDD505-2E9C-101B-9397-08002B2CF9AE}" pid="27" name="MSIP_Label_a15a25aa-e944-415d-b7a7-40f6b9180b6b_ContentBits">
    <vt:lpwstr>0</vt:lpwstr>
  </property>
</Properties>
</file>